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6"/>
  </p:notesMasterIdLst>
  <p:handoutMasterIdLst>
    <p:handoutMasterId r:id="rId17"/>
  </p:handoutMasterIdLst>
  <p:sldIdLst>
    <p:sldId id="1277" r:id="rId3"/>
    <p:sldId id="1293" r:id="rId4"/>
    <p:sldId id="1294" r:id="rId5"/>
    <p:sldId id="1296" r:id="rId6"/>
    <p:sldId id="1383" r:id="rId7"/>
    <p:sldId id="1384" r:id="rId8"/>
    <p:sldId id="1373" r:id="rId9"/>
    <p:sldId id="1385" r:id="rId10"/>
    <p:sldId id="1386" r:id="rId11"/>
    <p:sldId id="1343" r:id="rId12"/>
    <p:sldId id="1344" r:id="rId13"/>
    <p:sldId id="1345" r:id="rId14"/>
    <p:sldId id="1346" r:id="rId15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3"/>
            <p14:sldId id="1384"/>
            <p14:sldId id="1373"/>
            <p14:sldId id="1385"/>
            <p14:sldId id="1386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113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306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8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8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373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8. ledna 2022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7711300"/>
              </p:ext>
            </p:extLst>
          </p:nvPr>
        </p:nvGraphicFramePr>
        <p:xfrm>
          <a:off x="332646" y="832093"/>
          <a:ext cx="11405086" cy="5065288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1854723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549769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145323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6625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77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bilní situace. Pokles akutně přijímaný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, kapacity obsazeny již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kovidovaný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emocnými stále vyžadujícími IP, kteří udržují vysok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IP/ARO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5724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částečně uvolněn, onkologická aj. neodkladná operativa zcela bez omezení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ůžka pro COVID+ s dostatečnou kapacitou, spíše nižší počet příjmů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a úkor elektivní péče dále udržována navýšená kapacita standardní i IP péče pro C+ pacienty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9758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avyšování elektivní činnosti, část pracovišť zakonzervován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návrat k elektivní operativě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75649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4006327"/>
              </p:ext>
            </p:extLst>
          </p:nvPr>
        </p:nvGraphicFramePr>
        <p:xfrm>
          <a:off x="288084" y="735512"/>
          <a:ext cx="11587543" cy="5735517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6677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26955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Částečné 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acienty v intenzivní a standardní péči, vzhledem k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endový pokles počt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 v intenzivní 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2309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navyšování elektivní operativy, část pracovišť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b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řipravenost k event. změně zpět do „COVID“ režimu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šší nemocnost personálu, ale zatím toto není limitací k poskytování péče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23545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i intenzivní péči umožňuje návrat některých COV oddělení do běžného režimu, operativa stále omezena cca 60-7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aj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i na IP a je vysoký tlak na následnou péči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še ale ponecháno v rámc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y opatření s ohledem na vizi omikron mutace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ersonál je i tak již za hranou svých možností a kapacit a převádí již druhým rokem strašlivá kvanta dovolené a osobního volna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8869636"/>
              </p:ext>
            </p:extLst>
          </p:nvPr>
        </p:nvGraphicFramePr>
        <p:xfrm>
          <a:off x="376606" y="813855"/>
          <a:ext cx="11519385" cy="4817815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525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10218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návrat k elektivní operativě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8639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oproti podzimu zklidnění situace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plánované operativy minimální, někde maximálně do 2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ost personálu v trendu , očekává se zvýše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vistos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 nákaz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OČR, nemocnost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257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á lůžková kapacita zlepšena – překlady mezi nemocnicemi (mimo ECMO) jen sporadicky při potřebě náročné 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kovidů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 lůžkách IP přetrvává ECMO kapacita dostatečná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smtClean="0"/>
              <a:t>Hodnocení situace v krajích od KKIP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2092665"/>
              </p:ext>
            </p:extLst>
          </p:nvPr>
        </p:nvGraphicFramePr>
        <p:xfrm>
          <a:off x="434413" y="847512"/>
          <a:ext cx="11435203" cy="5357055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126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772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malý pokles celkového počtu C19 hospitalizací, trvá vyšší zatížení intenzivní péče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ě C19 JIP zatěžují pacienti kde je COVID-19 vedlejší diagnóza náhodně zjištěná při léčbě jiné patologie.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2233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C+ hospitalizovaných na standardu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 zatížené také méně, ale je 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kteří drž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k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plněné ve všech nemocnicích v ZLK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2221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mezi 20-50%; přetrvává problém v intenzivní péči s velkým počtem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; problém v oblast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c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nterních lůžek (značná část byla transformována n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ové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  <a:tr h="9889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34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18.1.2022 00:31</a:t>
            </a:r>
            <a:endParaRPr lang="cs-CZ" b="1" dirty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307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7315274"/>
              </p:ext>
            </p:extLst>
          </p:nvPr>
        </p:nvGraphicFramePr>
        <p:xfrm>
          <a:off x="332818" y="1019729"/>
          <a:ext cx="8960652" cy="5348847"/>
        </p:xfrm>
        <a:graphic>
          <a:graphicData uri="http://schemas.openxmlformats.org/drawingml/2006/table">
            <a:tbl>
              <a:tblPr/>
              <a:tblGrid>
                <a:gridCol w="1902117">
                  <a:extLst>
                    <a:ext uri="{9D8B030D-6E8A-4147-A177-3AD203B41FA5}">
                      <a16:colId xmlns:a16="http://schemas.microsoft.com/office/drawing/2014/main" val="294171638"/>
                    </a:ext>
                  </a:extLst>
                </a:gridCol>
                <a:gridCol w="1164561">
                  <a:extLst>
                    <a:ext uri="{9D8B030D-6E8A-4147-A177-3AD203B41FA5}">
                      <a16:colId xmlns:a16="http://schemas.microsoft.com/office/drawing/2014/main" val="453382692"/>
                    </a:ext>
                  </a:extLst>
                </a:gridCol>
                <a:gridCol w="1077219">
                  <a:extLst>
                    <a:ext uri="{9D8B030D-6E8A-4147-A177-3AD203B41FA5}">
                      <a16:colId xmlns:a16="http://schemas.microsoft.com/office/drawing/2014/main" val="2318861220"/>
                    </a:ext>
                  </a:extLst>
                </a:gridCol>
                <a:gridCol w="1073986">
                  <a:extLst>
                    <a:ext uri="{9D8B030D-6E8A-4147-A177-3AD203B41FA5}">
                      <a16:colId xmlns:a16="http://schemas.microsoft.com/office/drawing/2014/main" val="211038014"/>
                    </a:ext>
                  </a:extLst>
                </a:gridCol>
                <a:gridCol w="1112802">
                  <a:extLst>
                    <a:ext uri="{9D8B030D-6E8A-4147-A177-3AD203B41FA5}">
                      <a16:colId xmlns:a16="http://schemas.microsoft.com/office/drawing/2014/main" val="536065816"/>
                    </a:ext>
                  </a:extLst>
                </a:gridCol>
                <a:gridCol w="1116038">
                  <a:extLst>
                    <a:ext uri="{9D8B030D-6E8A-4147-A177-3AD203B41FA5}">
                      <a16:colId xmlns:a16="http://schemas.microsoft.com/office/drawing/2014/main" val="3287255225"/>
                    </a:ext>
                  </a:extLst>
                </a:gridCol>
                <a:gridCol w="1513929">
                  <a:extLst>
                    <a:ext uri="{9D8B030D-6E8A-4147-A177-3AD203B41FA5}">
                      <a16:colId xmlns:a16="http://schemas.microsoft.com/office/drawing/2014/main" val="1427294740"/>
                    </a:ext>
                  </a:extLst>
                </a:gridCol>
              </a:tblGrid>
              <a:tr h="178857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5743556"/>
                  </a:ext>
                </a:extLst>
              </a:tr>
              <a:tr h="17885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8.01. 2022, 12:00 h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4922638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2670427"/>
                  </a:ext>
                </a:extLst>
              </a:tr>
              <a:tr h="16608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1493835"/>
                  </a:ext>
                </a:extLst>
              </a:tr>
              <a:tr h="64516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3434453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731131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8483805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4312229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8902670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4036071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7663139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1745588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3008556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300779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6846790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4802095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5900756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64296"/>
                  </a:ext>
                </a:extLst>
              </a:tr>
              <a:tr h="1724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5116246"/>
                  </a:ext>
                </a:extLst>
              </a:tr>
              <a:tr h="166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2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2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606192"/>
                  </a:ext>
                </a:extLst>
              </a:tr>
              <a:tr h="15969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7748565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5286622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6129174"/>
                  </a:ext>
                </a:extLst>
              </a:tr>
              <a:tr h="15969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x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6352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5325536"/>
              </p:ext>
            </p:extLst>
          </p:nvPr>
        </p:nvGraphicFramePr>
        <p:xfrm>
          <a:off x="332819" y="987914"/>
          <a:ext cx="8899106" cy="5350475"/>
        </p:xfrm>
        <a:graphic>
          <a:graphicData uri="http://schemas.openxmlformats.org/drawingml/2006/table">
            <a:tbl>
              <a:tblPr/>
              <a:tblGrid>
                <a:gridCol w="1889051">
                  <a:extLst>
                    <a:ext uri="{9D8B030D-6E8A-4147-A177-3AD203B41FA5}">
                      <a16:colId xmlns:a16="http://schemas.microsoft.com/office/drawing/2014/main" val="2336867375"/>
                    </a:ext>
                  </a:extLst>
                </a:gridCol>
                <a:gridCol w="1156564">
                  <a:extLst>
                    <a:ext uri="{9D8B030D-6E8A-4147-A177-3AD203B41FA5}">
                      <a16:colId xmlns:a16="http://schemas.microsoft.com/office/drawing/2014/main" val="3984996627"/>
                    </a:ext>
                  </a:extLst>
                </a:gridCol>
                <a:gridCol w="1069821">
                  <a:extLst>
                    <a:ext uri="{9D8B030D-6E8A-4147-A177-3AD203B41FA5}">
                      <a16:colId xmlns:a16="http://schemas.microsoft.com/office/drawing/2014/main" val="2506364760"/>
                    </a:ext>
                  </a:extLst>
                </a:gridCol>
                <a:gridCol w="1066608">
                  <a:extLst>
                    <a:ext uri="{9D8B030D-6E8A-4147-A177-3AD203B41FA5}">
                      <a16:colId xmlns:a16="http://schemas.microsoft.com/office/drawing/2014/main" val="2233067119"/>
                    </a:ext>
                  </a:extLst>
                </a:gridCol>
                <a:gridCol w="1105159">
                  <a:extLst>
                    <a:ext uri="{9D8B030D-6E8A-4147-A177-3AD203B41FA5}">
                      <a16:colId xmlns:a16="http://schemas.microsoft.com/office/drawing/2014/main" val="1389349729"/>
                    </a:ext>
                  </a:extLst>
                </a:gridCol>
                <a:gridCol w="1108372">
                  <a:extLst>
                    <a:ext uri="{9D8B030D-6E8A-4147-A177-3AD203B41FA5}">
                      <a16:colId xmlns:a16="http://schemas.microsoft.com/office/drawing/2014/main" val="2320260066"/>
                    </a:ext>
                  </a:extLst>
                </a:gridCol>
                <a:gridCol w="1503531">
                  <a:extLst>
                    <a:ext uri="{9D8B030D-6E8A-4147-A177-3AD203B41FA5}">
                      <a16:colId xmlns:a16="http://schemas.microsoft.com/office/drawing/2014/main" val="1652578229"/>
                    </a:ext>
                  </a:extLst>
                </a:gridCol>
              </a:tblGrid>
              <a:tr h="170264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2560752"/>
                  </a:ext>
                </a:extLst>
              </a:tr>
              <a:tr h="179225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8.01. 2022, 12:00 h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5128420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0578303"/>
                  </a:ext>
                </a:extLst>
              </a:tr>
              <a:tr h="166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0953951"/>
                  </a:ext>
                </a:extLst>
              </a:tr>
              <a:tr h="64649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7802837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266260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9130044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7079031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1117751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0119399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5344575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4990848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9982242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4203206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6379606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9670819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3246019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4899287"/>
                  </a:ext>
                </a:extLst>
              </a:tr>
              <a:tr h="1664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853086"/>
                  </a:ext>
                </a:extLst>
              </a:tr>
              <a:tr h="1728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8689783"/>
                  </a:ext>
                </a:extLst>
              </a:tr>
              <a:tr h="16002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3159787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2758666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0526518"/>
                  </a:ext>
                </a:extLst>
              </a:tr>
              <a:tr h="16002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x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0226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18.1.2022 00:31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1 </a:t>
            </a:r>
            <a:r>
              <a:rPr lang="cs-CZ" sz="2000" b="1" dirty="0" smtClean="0"/>
              <a:t>353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6742120"/>
              </p:ext>
            </p:extLst>
          </p:nvPr>
        </p:nvGraphicFramePr>
        <p:xfrm>
          <a:off x="332818" y="1001471"/>
          <a:ext cx="8433113" cy="5309784"/>
        </p:xfrm>
        <a:graphic>
          <a:graphicData uri="http://schemas.openxmlformats.org/drawingml/2006/table">
            <a:tbl>
              <a:tblPr/>
              <a:tblGrid>
                <a:gridCol w="1714024">
                  <a:extLst>
                    <a:ext uri="{9D8B030D-6E8A-4147-A177-3AD203B41FA5}">
                      <a16:colId xmlns:a16="http://schemas.microsoft.com/office/drawing/2014/main" val="270233382"/>
                    </a:ext>
                  </a:extLst>
                </a:gridCol>
                <a:gridCol w="1049402">
                  <a:extLst>
                    <a:ext uri="{9D8B030D-6E8A-4147-A177-3AD203B41FA5}">
                      <a16:colId xmlns:a16="http://schemas.microsoft.com/office/drawing/2014/main" val="103727184"/>
                    </a:ext>
                  </a:extLst>
                </a:gridCol>
                <a:gridCol w="970696">
                  <a:extLst>
                    <a:ext uri="{9D8B030D-6E8A-4147-A177-3AD203B41FA5}">
                      <a16:colId xmlns:a16="http://schemas.microsoft.com/office/drawing/2014/main" val="1354280962"/>
                    </a:ext>
                  </a:extLst>
                </a:gridCol>
                <a:gridCol w="967782">
                  <a:extLst>
                    <a:ext uri="{9D8B030D-6E8A-4147-A177-3AD203B41FA5}">
                      <a16:colId xmlns:a16="http://schemas.microsoft.com/office/drawing/2014/main" val="3732711477"/>
                    </a:ext>
                  </a:extLst>
                </a:gridCol>
                <a:gridCol w="1002763">
                  <a:extLst>
                    <a:ext uri="{9D8B030D-6E8A-4147-A177-3AD203B41FA5}">
                      <a16:colId xmlns:a16="http://schemas.microsoft.com/office/drawing/2014/main" val="3136132313"/>
                    </a:ext>
                  </a:extLst>
                </a:gridCol>
                <a:gridCol w="1364223">
                  <a:extLst>
                    <a:ext uri="{9D8B030D-6E8A-4147-A177-3AD203B41FA5}">
                      <a16:colId xmlns:a16="http://schemas.microsoft.com/office/drawing/2014/main" val="2003065361"/>
                    </a:ext>
                  </a:extLst>
                </a:gridCol>
                <a:gridCol w="1364223">
                  <a:extLst>
                    <a:ext uri="{9D8B030D-6E8A-4147-A177-3AD203B41FA5}">
                      <a16:colId xmlns:a16="http://schemas.microsoft.com/office/drawing/2014/main" val="1179284536"/>
                    </a:ext>
                  </a:extLst>
                </a:gridCol>
              </a:tblGrid>
              <a:tr h="185107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8450928"/>
                  </a:ext>
                </a:extLst>
              </a:tr>
              <a:tr h="18510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8.01. 2022, 12:00 h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4872972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9916577"/>
                  </a:ext>
                </a:extLst>
              </a:tr>
              <a:tr h="18510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229889"/>
                  </a:ext>
                </a:extLst>
              </a:tr>
              <a:tr h="50243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0751079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7448375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0320753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3149946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660574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2556458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875435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1321921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93703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3595251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6014041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0165659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9854770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0576114"/>
                  </a:ext>
                </a:extLst>
              </a:tr>
              <a:tr h="17188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6942265"/>
                  </a:ext>
                </a:extLst>
              </a:tr>
              <a:tr h="178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1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358986"/>
                  </a:ext>
                </a:extLst>
              </a:tr>
              <a:tr h="165274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4732744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5670094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873942"/>
                  </a:ext>
                </a:extLst>
              </a:tr>
              <a:tr h="16527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x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34453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031898" y="5621842"/>
            <a:ext cx="2631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8.1.2022 12:0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591477" y="5621842"/>
            <a:ext cx="55999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Žádáme všechna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9436941"/>
              </p:ext>
            </p:extLst>
          </p:nvPr>
        </p:nvGraphicFramePr>
        <p:xfrm>
          <a:off x="332820" y="1682135"/>
          <a:ext cx="5681119" cy="3781717"/>
        </p:xfrm>
        <a:graphic>
          <a:graphicData uri="http://schemas.openxmlformats.org/drawingml/2006/table">
            <a:tbl>
              <a:tblPr/>
              <a:tblGrid>
                <a:gridCol w="3544966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589833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546320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2765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oslední</a:t>
                      </a:r>
                      <a:r>
                        <a:rPr lang="cs-CZ" sz="13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tualizace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01.2022 13:3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sarykova nemocnice Rakovník s.r.o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01.2022 14:1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ísek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10:1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pl-PL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kultní nemocnice u sv. Anny v Brně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M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12:0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8947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12:4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7196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odlesí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14:03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8886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ská nemocnice Liberec, a.s., Nemocnice Turnov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20:5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67044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01.2022 7:0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477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dhorská nemocnice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01.2022 11:5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335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latovská nemocn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01.2022 12:3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043696"/>
                  </a:ext>
                </a:extLst>
              </a:tr>
            </a:tbl>
          </a:graphicData>
        </a:graphic>
      </p:graphicFrame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7265899"/>
              </p:ext>
            </p:extLst>
          </p:nvPr>
        </p:nvGraphicFramePr>
        <p:xfrm>
          <a:off x="6191427" y="1682135"/>
          <a:ext cx="5549237" cy="3080677"/>
        </p:xfrm>
        <a:graphic>
          <a:graphicData uri="http://schemas.openxmlformats.org/drawingml/2006/table">
            <a:tbl>
              <a:tblPr/>
              <a:tblGrid>
                <a:gridCol w="3462673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576140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510424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2765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oslední</a:t>
                      </a:r>
                      <a:r>
                        <a:rPr lang="cs-CZ" sz="13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tualizace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KN a.s., Nemocnice Cheb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.01.2022 8:1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KN a.s., Nemocnice Karlovy Vary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.01.2022 8:1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Kolín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.01.2022 8:18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ové Město na Moravě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.o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.01.2022 9:1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8947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kultní nemocnice v Motol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.01.2022 9:2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7196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H Hospital </a:t>
                      </a:r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.s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, </a:t>
                      </a:r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řovice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.01.2022 10:4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8886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Mladá Boleslav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.01.2022 11:0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67044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P Hospitals, s.r.o., Nemocnice Brandýs n/L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.01.2022 11:4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47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5340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0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9713463"/>
              </p:ext>
            </p:extLst>
          </p:nvPr>
        </p:nvGraphicFramePr>
        <p:xfrm>
          <a:off x="1522023" y="1993495"/>
          <a:ext cx="8652072" cy="31185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389221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4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4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18.1.2022 0:31 h</a:t>
                      </a:r>
                      <a:endParaRPr lang="cs-CZ" sz="14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4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1 660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365132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003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60,4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07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40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,4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23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72,6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443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6,7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353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74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10,5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803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9,3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16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71273" y="30260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419086"/>
              </p:ext>
            </p:extLst>
          </p:nvPr>
        </p:nvGraphicFramePr>
        <p:xfrm>
          <a:off x="803513" y="1322691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18.1.202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,4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98690" y="3059750"/>
            <a:ext cx="1039788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ne 17.1. bylo 133 nově přijatých C+ pacientů a 166 propuštěných.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– bez požadavků na mezikrajové překlady. 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 - celkové zlepšení situace v ČR, nižší počty příjmů C+ pac, ve všech krajích obnovena elektivní operativa s omezením do 20 % nebo méně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tále zatížení IP long-COVID pacienty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lvl="1">
              <a:defRPr/>
            </a:pPr>
            <a:endParaRPr lang="cs-CZ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 startAt="4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P – long-</a:t>
            </a:r>
            <a:r>
              <a:rPr lang="cs-CZ" dirty="0" err="1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vid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acienti k 18.1.2022 -&gt; 102 celkem, z toho 61 pac na JIP, z toho 48 pac na UPV/ECMO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454642"/>
            <a:ext cx="52548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čtvrtý týden stoupá a pokles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u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 začíná stagnovat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Týdenní srovnání počtu hospitalizovaných</a:t>
            </a:r>
            <a:endParaRPr lang="cs-CZ" dirty="0"/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 rotWithShape="1">
          <a:blip r:embed="rId2"/>
          <a:srcRect l="23949" t="12846" r="11110" b="18082"/>
          <a:stretch/>
        </p:blipFill>
        <p:spPr>
          <a:xfrm>
            <a:off x="1033112" y="958039"/>
            <a:ext cx="9082813" cy="5433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3730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Týdenní srovnání počtu hospitalizovaných na JIP</a:t>
            </a:r>
            <a:endParaRPr lang="cs-CZ" dirty="0"/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 rotWithShape="1">
          <a:blip r:embed="rId2"/>
          <a:srcRect l="23710" t="15545" r="9413" b="14477"/>
          <a:stretch/>
        </p:blipFill>
        <p:spPr>
          <a:xfrm>
            <a:off x="1021302" y="967155"/>
            <a:ext cx="9196755" cy="5413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1031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5224</TotalTime>
  <Words>2034</Words>
  <Application>Microsoft Office PowerPoint</Application>
  <PresentationFormat>Širokoúhlá obrazovka</PresentationFormat>
  <Paragraphs>595</Paragraphs>
  <Slides>13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3</vt:i4>
      </vt:variant>
    </vt:vector>
  </HeadingPairs>
  <TitlesOfParts>
    <vt:vector size="20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</vt:lpstr>
      <vt:lpstr>Týdenní srovnání počtu hospitalizovaných</vt:lpstr>
      <vt:lpstr>Týdenní srovnání počtu hospitalizovaných na JIP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903</cp:revision>
  <cp:lastPrinted>2020-10-20T04:21:56Z</cp:lastPrinted>
  <dcterms:created xsi:type="dcterms:W3CDTF">2020-07-15T10:33:32Z</dcterms:created>
  <dcterms:modified xsi:type="dcterms:W3CDTF">2022-01-18T11:03:54Z</dcterms:modified>
</cp:coreProperties>
</file>